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1413" r:id="rId2"/>
    <p:sldId id="2237" r:id="rId3"/>
    <p:sldId id="2185" r:id="rId4"/>
    <p:sldId id="2226" r:id="rId5"/>
    <p:sldId id="2227" r:id="rId6"/>
    <p:sldId id="2228" r:id="rId7"/>
    <p:sldId id="2229" r:id="rId8"/>
    <p:sldId id="2230" r:id="rId9"/>
    <p:sldId id="2231" r:id="rId10"/>
    <p:sldId id="2232" r:id="rId11"/>
    <p:sldId id="2238" r:id="rId12"/>
    <p:sldId id="2239" r:id="rId13"/>
    <p:sldId id="2236" r:id="rId14"/>
  </p:sldIdLst>
  <p:sldSz cx="12192000" cy="6858000"/>
  <p:notesSz cx="6858000" cy="9144000"/>
  <p:custDataLst>
    <p:tags r:id="rId1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CC99"/>
    <a:srgbClr val="7191D1"/>
    <a:srgbClr val="B0C2E5"/>
    <a:srgbClr val="F2F2F2"/>
    <a:srgbClr val="CC99FF"/>
    <a:srgbClr val="FF9933"/>
    <a:srgbClr val="FF9966"/>
    <a:srgbClr val="FF6600"/>
    <a:srgbClr val="3153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6327" autoAdjust="0"/>
  </p:normalViewPr>
  <p:slideViewPr>
    <p:cSldViewPr snapToGrid="0">
      <p:cViewPr varScale="1">
        <p:scale>
          <a:sx n="114" d="100"/>
          <a:sy n="114" d="100"/>
        </p:scale>
        <p:origin x="636" y="108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421979426879203"/>
          <c:y val="0.15289779551144775"/>
          <c:w val="0.71169677772137596"/>
          <c:h val="0.7919788987481927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37.668688106657001</c:v>
                </c:pt>
                <c:pt idx="1">
                  <c:v>45.906424936152</c:v>
                </c:pt>
                <c:pt idx="2">
                  <c:v>45.151440880251997</c:v>
                </c:pt>
                <c:pt idx="3">
                  <c:v>39.777127963201998</c:v>
                </c:pt>
                <c:pt idx="5">
                  <c:v>36.659766971445997</c:v>
                </c:pt>
                <c:pt idx="6">
                  <c:v>36.141293350478001</c:v>
                </c:pt>
                <c:pt idx="7">
                  <c:v>36.789473644758999</c:v>
                </c:pt>
                <c:pt idx="8">
                  <c:v>37.267785216634003</c:v>
                </c:pt>
                <c:pt idx="9">
                  <c:v>37.766881207844001</c:v>
                </c:pt>
                <c:pt idx="10">
                  <c:v>37.658991170244001</c:v>
                </c:pt>
                <c:pt idx="11">
                  <c:v>37.920892856767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4B-4255-9B61-E6E850493DE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26.313686035505999</c:v>
                </c:pt>
                <c:pt idx="1">
                  <c:v>28.502972647770001</c:v>
                </c:pt>
                <c:pt idx="2">
                  <c:v>29.045500746548999</c:v>
                </c:pt>
                <c:pt idx="3">
                  <c:v>27.786539365721001</c:v>
                </c:pt>
                <c:pt idx="5">
                  <c:v>24.928149651959</c:v>
                </c:pt>
                <c:pt idx="6">
                  <c:v>25.515244877577</c:v>
                </c:pt>
                <c:pt idx="7">
                  <c:v>25.505228622463001</c:v>
                </c:pt>
                <c:pt idx="8">
                  <c:v>25.300048987589001</c:v>
                </c:pt>
                <c:pt idx="9">
                  <c:v>24.726989471568</c:v>
                </c:pt>
                <c:pt idx="10">
                  <c:v>24.883228657638</c:v>
                </c:pt>
                <c:pt idx="11">
                  <c:v>26.134906493904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4B-4255-9B61-E6E850493DE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0.89230040954800005</c:v>
                </c:pt>
                <c:pt idx="1">
                  <c:v>0.87485350968599995</c:v>
                </c:pt>
                <c:pt idx="2">
                  <c:v>0.887726589131</c:v>
                </c:pt>
                <c:pt idx="3">
                  <c:v>0.94224538618700004</c:v>
                </c:pt>
                <c:pt idx="5">
                  <c:v>0.75108741994799999</c:v>
                </c:pt>
                <c:pt idx="6">
                  <c:v>0.78257690977000005</c:v>
                </c:pt>
                <c:pt idx="7">
                  <c:v>0.81065947879400002</c:v>
                </c:pt>
                <c:pt idx="8">
                  <c:v>0.81482691051599998</c:v>
                </c:pt>
                <c:pt idx="9">
                  <c:v>0.81190613793499999</c:v>
                </c:pt>
                <c:pt idx="10">
                  <c:v>0.85547127591299998</c:v>
                </c:pt>
                <c:pt idx="11">
                  <c:v>0.921104822105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4B-4255-9B61-E6E850493DE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13.819116208457</c:v>
                </c:pt>
                <c:pt idx="1">
                  <c:v>10.200263314034</c:v>
                </c:pt>
                <c:pt idx="2">
                  <c:v>10.47891100252</c:v>
                </c:pt>
                <c:pt idx="3">
                  <c:v>13.693038098023999</c:v>
                </c:pt>
                <c:pt idx="5">
                  <c:v>13.244984834661</c:v>
                </c:pt>
                <c:pt idx="6">
                  <c:v>14.376072950867</c:v>
                </c:pt>
                <c:pt idx="7">
                  <c:v>14.195048493402</c:v>
                </c:pt>
                <c:pt idx="8">
                  <c:v>14.308118332244</c:v>
                </c:pt>
                <c:pt idx="9">
                  <c:v>13.658387746383999</c:v>
                </c:pt>
                <c:pt idx="10">
                  <c:v>13.677723265101999</c:v>
                </c:pt>
                <c:pt idx="11">
                  <c:v>13.098324634359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64B-4255-9B61-E6E850493DE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F$2:$F$13</c:f>
              <c:numCache>
                <c:formatCode>General</c:formatCode>
                <c:ptCount val="12"/>
                <c:pt idx="0">
                  <c:v>9.4937504303999998E-2</c:v>
                </c:pt>
                <c:pt idx="1">
                  <c:v>0.10782930838099999</c:v>
                </c:pt>
                <c:pt idx="2">
                  <c:v>0.106643430683</c:v>
                </c:pt>
                <c:pt idx="3">
                  <c:v>9.9363413048999996E-2</c:v>
                </c:pt>
                <c:pt idx="5">
                  <c:v>7.5108741994E-2</c:v>
                </c:pt>
                <c:pt idx="6">
                  <c:v>7.4608842093999997E-2</c:v>
                </c:pt>
                <c:pt idx="7">
                  <c:v>7.5256783790999995E-2</c:v>
                </c:pt>
                <c:pt idx="8">
                  <c:v>7.7835837143000006E-2</c:v>
                </c:pt>
                <c:pt idx="9">
                  <c:v>7.9690141754999999E-2</c:v>
                </c:pt>
                <c:pt idx="10">
                  <c:v>8.2675002858999994E-2</c:v>
                </c:pt>
                <c:pt idx="11">
                  <c:v>8.4954028705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4B-4255-9B61-E6E850493DE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G$2:$G$13</c:f>
              <c:numCache>
                <c:formatCode>General</c:formatCode>
                <c:ptCount val="12"/>
                <c:pt idx="0">
                  <c:v>0.494702889062</c:v>
                </c:pt>
                <c:pt idx="1">
                  <c:v>0.55400287084099997</c:v>
                </c:pt>
                <c:pt idx="2">
                  <c:v>0.55293965522599997</c:v>
                </c:pt>
                <c:pt idx="3">
                  <c:v>0.521347099491</c:v>
                </c:pt>
                <c:pt idx="5">
                  <c:v>0.24056888244800001</c:v>
                </c:pt>
                <c:pt idx="6">
                  <c:v>0.235249577347</c:v>
                </c:pt>
                <c:pt idx="7">
                  <c:v>0.25725227288199998</c:v>
                </c:pt>
                <c:pt idx="8">
                  <c:v>0.25289843239699999</c:v>
                </c:pt>
                <c:pt idx="9">
                  <c:v>0.28078211207499998</c:v>
                </c:pt>
                <c:pt idx="10">
                  <c:v>0.31828659099000001</c:v>
                </c:pt>
                <c:pt idx="11">
                  <c:v>0.300571047212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64B-4255-9B61-E6E850493DE0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- 1 999 obyvatel</c:v>
                </c:pt>
                <c:pt idx="7">
                  <c:v>2 000 - 4 999 obyvatel</c:v>
                </c:pt>
                <c:pt idx="8">
                  <c:v>5 000 - 14 999 obyvatel</c:v>
                </c:pt>
                <c:pt idx="9">
                  <c:v>15 000 - 39 999 obyvatel</c:v>
                </c:pt>
                <c:pt idx="10">
                  <c:v>40 000 -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H$2:$H$13</c:f>
              <c:numCache>
                <c:formatCode>General</c:formatCode>
                <c:ptCount val="12"/>
                <c:pt idx="0">
                  <c:v>20.716568846464</c:v>
                </c:pt>
                <c:pt idx="1">
                  <c:v>13.853653413132999</c:v>
                </c:pt>
                <c:pt idx="2">
                  <c:v>13.776837695636999</c:v>
                </c:pt>
                <c:pt idx="3">
                  <c:v>17.180338674323</c:v>
                </c:pt>
                <c:pt idx="5">
                  <c:v>24.100333497542</c:v>
                </c:pt>
                <c:pt idx="6">
                  <c:v>22.874953491864002</c:v>
                </c:pt>
                <c:pt idx="7">
                  <c:v>22.367080703906002</c:v>
                </c:pt>
                <c:pt idx="8">
                  <c:v>21.978486283475</c:v>
                </c:pt>
                <c:pt idx="9">
                  <c:v>22.675363182437</c:v>
                </c:pt>
                <c:pt idx="10">
                  <c:v>22.523624037249999</c:v>
                </c:pt>
                <c:pt idx="11">
                  <c:v>21.539246116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4B-4255-9B61-E6E850493D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621546842079E-3"/>
          <c:y val="4.1173005736514182E-2"/>
          <c:w val="0.99538389239985303"/>
          <c:h val="4.5851399947898858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929569999999998</c:v>
                </c:pt>
                <c:pt idx="1">
                  <c:v>91.726420000000005</c:v>
                </c:pt>
                <c:pt idx="2">
                  <c:v>81.806830000000005</c:v>
                </c:pt>
                <c:pt idx="3">
                  <c:v>78.186250000000001</c:v>
                </c:pt>
                <c:pt idx="4">
                  <c:v>72.520300000000006</c:v>
                </c:pt>
                <c:pt idx="5">
                  <c:v>64.268889999999999</c:v>
                </c:pt>
                <c:pt idx="6">
                  <c:v>67.085830000000001</c:v>
                </c:pt>
                <c:pt idx="7">
                  <c:v>22.3613</c:v>
                </c:pt>
                <c:pt idx="8">
                  <c:v>75.94607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9D-47E9-97C6-135EE347D8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742599999999996</c:v>
                </c:pt>
                <c:pt idx="1">
                  <c:v>91.257230000000007</c:v>
                </c:pt>
                <c:pt idx="2">
                  <c:v>81.505650000000003</c:v>
                </c:pt>
                <c:pt idx="3">
                  <c:v>77.721230000000006</c:v>
                </c:pt>
                <c:pt idx="4">
                  <c:v>71.988680000000002</c:v>
                </c:pt>
                <c:pt idx="5">
                  <c:v>63.394779999999997</c:v>
                </c:pt>
                <c:pt idx="6">
                  <c:v>66.02028</c:v>
                </c:pt>
                <c:pt idx="7">
                  <c:v>22.0153</c:v>
                </c:pt>
                <c:pt idx="8">
                  <c:v>75.284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9D-47E9-97C6-135EE347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87.588480000000004</c:v>
                </c:pt>
                <c:pt idx="1">
                  <c:v>91.606110000000001</c:v>
                </c:pt>
                <c:pt idx="2">
                  <c:v>81.73724</c:v>
                </c:pt>
                <c:pt idx="3">
                  <c:v>76.419319999999999</c:v>
                </c:pt>
                <c:pt idx="4">
                  <c:v>70.178989999999999</c:v>
                </c:pt>
                <c:pt idx="5">
                  <c:v>59.621029999999998</c:v>
                </c:pt>
                <c:pt idx="6">
                  <c:v>60.410029999999999</c:v>
                </c:pt>
                <c:pt idx="7">
                  <c:v>21.52816</c:v>
                </c:pt>
                <c:pt idx="8">
                  <c:v>73.08477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5D-4F82-B544-891C0F95F72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87.273470000000003</c:v>
                </c:pt>
                <c:pt idx="1">
                  <c:v>91.364109999999997</c:v>
                </c:pt>
                <c:pt idx="2">
                  <c:v>81.523809999999997</c:v>
                </c:pt>
                <c:pt idx="3">
                  <c:v>76.128619999999998</c:v>
                </c:pt>
                <c:pt idx="4">
                  <c:v>69.855760000000004</c:v>
                </c:pt>
                <c:pt idx="5">
                  <c:v>59.127029999999998</c:v>
                </c:pt>
                <c:pt idx="6">
                  <c:v>59.936050000000002</c:v>
                </c:pt>
                <c:pt idx="7">
                  <c:v>21.28755</c:v>
                </c:pt>
                <c:pt idx="8">
                  <c:v>72.74146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5D-4F82-B544-891C0F95F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89.000619999999998</c:v>
                </c:pt>
                <c:pt idx="1">
                  <c:v>91.759720000000002</c:v>
                </c:pt>
                <c:pt idx="2">
                  <c:v>81.825950000000006</c:v>
                </c:pt>
                <c:pt idx="3">
                  <c:v>77.378969999999995</c:v>
                </c:pt>
                <c:pt idx="4">
                  <c:v>71.152349999999998</c:v>
                </c:pt>
                <c:pt idx="5">
                  <c:v>60.469050000000003</c:v>
                </c:pt>
                <c:pt idx="6">
                  <c:v>61.681989999999999</c:v>
                </c:pt>
                <c:pt idx="7">
                  <c:v>21.46482</c:v>
                </c:pt>
                <c:pt idx="8">
                  <c:v>73.64838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0C-4258-B2E9-3390F07AA8C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88.694490000000002</c:v>
                </c:pt>
                <c:pt idx="1">
                  <c:v>91.533680000000004</c:v>
                </c:pt>
                <c:pt idx="2">
                  <c:v>81.617699999999999</c:v>
                </c:pt>
                <c:pt idx="3">
                  <c:v>77.075180000000003</c:v>
                </c:pt>
                <c:pt idx="4">
                  <c:v>70.833489999999998</c:v>
                </c:pt>
                <c:pt idx="5">
                  <c:v>59.979109999999999</c:v>
                </c:pt>
                <c:pt idx="6">
                  <c:v>61.222999999999999</c:v>
                </c:pt>
                <c:pt idx="7">
                  <c:v>21.206250000000001</c:v>
                </c:pt>
                <c:pt idx="8">
                  <c:v>73.29493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0C-4258-B2E9-3390F07AA8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1.641599999999997</c:v>
                </c:pt>
                <c:pt idx="1">
                  <c:v>91.736320000000006</c:v>
                </c:pt>
                <c:pt idx="2">
                  <c:v>81.762159999999994</c:v>
                </c:pt>
                <c:pt idx="3">
                  <c:v>77.573130000000006</c:v>
                </c:pt>
                <c:pt idx="4">
                  <c:v>71.21687</c:v>
                </c:pt>
                <c:pt idx="5">
                  <c:v>60.66863</c:v>
                </c:pt>
                <c:pt idx="6">
                  <c:v>62.090470000000003</c:v>
                </c:pt>
                <c:pt idx="7">
                  <c:v>21.82281</c:v>
                </c:pt>
                <c:pt idx="8">
                  <c:v>73.990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F6-40CB-8CD6-67928DF8B39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243769999999998</c:v>
                </c:pt>
                <c:pt idx="1">
                  <c:v>91.470389999999995</c:v>
                </c:pt>
                <c:pt idx="2">
                  <c:v>81.535200000000003</c:v>
                </c:pt>
                <c:pt idx="3">
                  <c:v>77.280500000000004</c:v>
                </c:pt>
                <c:pt idx="4">
                  <c:v>70.914770000000004</c:v>
                </c:pt>
                <c:pt idx="5">
                  <c:v>60.126669999999997</c:v>
                </c:pt>
                <c:pt idx="6">
                  <c:v>61.594389999999997</c:v>
                </c:pt>
                <c:pt idx="7">
                  <c:v>21.561530000000001</c:v>
                </c:pt>
                <c:pt idx="8">
                  <c:v>73.64083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F6-40CB-8CD6-67928DF8B3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742909999999995</c:v>
                </c:pt>
                <c:pt idx="1">
                  <c:v>91.408010000000004</c:v>
                </c:pt>
                <c:pt idx="2">
                  <c:v>81.153049999999993</c:v>
                </c:pt>
                <c:pt idx="3">
                  <c:v>76.691389999999998</c:v>
                </c:pt>
                <c:pt idx="4">
                  <c:v>69.829170000000005</c:v>
                </c:pt>
                <c:pt idx="5">
                  <c:v>60.084690000000002</c:v>
                </c:pt>
                <c:pt idx="6">
                  <c:v>61.60575</c:v>
                </c:pt>
                <c:pt idx="7">
                  <c:v>21.10744</c:v>
                </c:pt>
                <c:pt idx="8">
                  <c:v>73.81637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44-4C97-A806-76CD7E1DDB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2.394450000000006</c:v>
                </c:pt>
                <c:pt idx="1">
                  <c:v>91.168310000000005</c:v>
                </c:pt>
                <c:pt idx="2">
                  <c:v>80.93074</c:v>
                </c:pt>
                <c:pt idx="3">
                  <c:v>76.382750000000001</c:v>
                </c:pt>
                <c:pt idx="4">
                  <c:v>69.50685</c:v>
                </c:pt>
                <c:pt idx="5">
                  <c:v>59.5443</c:v>
                </c:pt>
                <c:pt idx="6">
                  <c:v>61.126919999999998</c:v>
                </c:pt>
                <c:pt idx="7">
                  <c:v>20.844180000000001</c:v>
                </c:pt>
                <c:pt idx="8">
                  <c:v>73.4522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44-4C97-A806-76CD7E1DD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336280000000002</c:v>
                </c:pt>
                <c:pt idx="1">
                  <c:v>91.048119999999997</c:v>
                </c:pt>
                <c:pt idx="2">
                  <c:v>80.884150000000005</c:v>
                </c:pt>
                <c:pt idx="3">
                  <c:v>76.345129999999997</c:v>
                </c:pt>
                <c:pt idx="4">
                  <c:v>69.593450000000004</c:v>
                </c:pt>
                <c:pt idx="5">
                  <c:v>59.526290000000003</c:v>
                </c:pt>
                <c:pt idx="6">
                  <c:v>61.903060000000004</c:v>
                </c:pt>
                <c:pt idx="7">
                  <c:v>20.718990000000002</c:v>
                </c:pt>
                <c:pt idx="8">
                  <c:v>73.14659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FC-4282-9746-C835D5D8CC2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964669999999998</c:v>
                </c:pt>
                <c:pt idx="1">
                  <c:v>90.752319999999997</c:v>
                </c:pt>
                <c:pt idx="2">
                  <c:v>80.619370000000004</c:v>
                </c:pt>
                <c:pt idx="3">
                  <c:v>76.015979999999999</c:v>
                </c:pt>
                <c:pt idx="4">
                  <c:v>69.212339999999998</c:v>
                </c:pt>
                <c:pt idx="5">
                  <c:v>58.917700000000004</c:v>
                </c:pt>
                <c:pt idx="6">
                  <c:v>61.374650000000003</c:v>
                </c:pt>
                <c:pt idx="7">
                  <c:v>20.479859999999999</c:v>
                </c:pt>
                <c:pt idx="8">
                  <c:v>72.7352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FC-4282-9746-C835D5D8CC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343050000000005</c:v>
                </c:pt>
                <c:pt idx="1">
                  <c:v>90.202299999999994</c:v>
                </c:pt>
                <c:pt idx="2">
                  <c:v>80.314530000000005</c:v>
                </c:pt>
                <c:pt idx="3">
                  <c:v>76.426209999999998</c:v>
                </c:pt>
                <c:pt idx="4">
                  <c:v>69.930340000000001</c:v>
                </c:pt>
                <c:pt idx="5">
                  <c:v>60.340510000000002</c:v>
                </c:pt>
                <c:pt idx="6">
                  <c:v>62.533560000000001</c:v>
                </c:pt>
                <c:pt idx="7">
                  <c:v>20.775379999999998</c:v>
                </c:pt>
                <c:pt idx="8">
                  <c:v>74.1594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23-4982-9BAE-718503394ED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935509999999994</c:v>
                </c:pt>
                <c:pt idx="1">
                  <c:v>89.951909999999998</c:v>
                </c:pt>
                <c:pt idx="2">
                  <c:v>80.02525</c:v>
                </c:pt>
                <c:pt idx="3">
                  <c:v>76.043080000000003</c:v>
                </c:pt>
                <c:pt idx="4">
                  <c:v>69.525379999999998</c:v>
                </c:pt>
                <c:pt idx="5">
                  <c:v>59.716749999999998</c:v>
                </c:pt>
                <c:pt idx="6">
                  <c:v>61.893909999999998</c:v>
                </c:pt>
                <c:pt idx="7">
                  <c:v>20.488859999999999</c:v>
                </c:pt>
                <c:pt idx="8">
                  <c:v>73.71657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23-4982-9BAE-718503394E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4.572059999999993</c:v>
                </c:pt>
                <c:pt idx="1">
                  <c:v>90.850200000000001</c:v>
                </c:pt>
                <c:pt idx="2">
                  <c:v>80.67013</c:v>
                </c:pt>
                <c:pt idx="3">
                  <c:v>76.460700000000003</c:v>
                </c:pt>
                <c:pt idx="4">
                  <c:v>72.263720000000006</c:v>
                </c:pt>
                <c:pt idx="5">
                  <c:v>64.595879999999994</c:v>
                </c:pt>
                <c:pt idx="6">
                  <c:v>68.127160000000003</c:v>
                </c:pt>
                <c:pt idx="7">
                  <c:v>25.616599999999998</c:v>
                </c:pt>
                <c:pt idx="8">
                  <c:v>75.19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4F-45D5-8906-2A772ED970B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4.150980000000004</c:v>
                </c:pt>
                <c:pt idx="1">
                  <c:v>90.551289999999995</c:v>
                </c:pt>
                <c:pt idx="2">
                  <c:v>80.396810000000002</c:v>
                </c:pt>
                <c:pt idx="3">
                  <c:v>76.050659999999993</c:v>
                </c:pt>
                <c:pt idx="4">
                  <c:v>71.853639999999999</c:v>
                </c:pt>
                <c:pt idx="5">
                  <c:v>64.082470000000001</c:v>
                </c:pt>
                <c:pt idx="6">
                  <c:v>67.638990000000007</c:v>
                </c:pt>
                <c:pt idx="7">
                  <c:v>25.252320000000001</c:v>
                </c:pt>
                <c:pt idx="8">
                  <c:v>74.7818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4F-45D5-8906-2A772ED97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567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547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513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notesSlide" Target="../notesSlides/notesSlid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chart" Target="../charts/chart4.xml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3840861"/>
            <a:ext cx="12192000" cy="1956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400" dirty="0">
                <a:solidFill>
                  <a:schemeClr val="tx1"/>
                </a:solidFill>
              </a:rPr>
              <a:t>Průběh vakcinace k 6. 3. 2022</a:t>
            </a:r>
          </a:p>
          <a:p>
            <a:r>
              <a:rPr lang="cs-CZ" sz="4400" b="0" i="1" dirty="0">
                <a:solidFill>
                  <a:schemeClr val="tx1"/>
                </a:solidFill>
              </a:rPr>
              <a:t>Stručná prezentace shrnující analýzu dle velikosti sídel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800" dirty="0"/>
              <a:t>Stav a vývoj epidemie COVID-19 </a:t>
            </a:r>
            <a:br>
              <a:rPr lang="cs-CZ" sz="4800" dirty="0"/>
            </a:br>
            <a:r>
              <a:rPr lang="cs-CZ" sz="4800" dirty="0"/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41898705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100 000 a více obyvatel (2 382 465 obyvatel, 6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FE759F90-0394-4F8C-BD0E-26FAB632990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69879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761CB2D4-BC7E-4C94-8AC8-F2AB1168D228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8F468458-0F79-403C-B5AA-486E3474AD18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33C84E2F-64F3-4FEE-9B58-25624DECE1A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000" y="0"/>
            <a:ext cx="5397500" cy="576263"/>
          </a:xfrm>
        </p:spPr>
        <p:txBody>
          <a:bodyPr/>
          <a:lstStyle/>
          <a:p>
            <a:r>
              <a:rPr lang="cs-CZ" dirty="0"/>
              <a:t>Zájem o očkování, stav k 6. 3. 2022</a:t>
            </a:r>
          </a:p>
        </p:txBody>
      </p:sp>
    </p:spTree>
    <p:extLst>
      <p:ext uri="{BB962C8B-B14F-4D97-AF65-F5344CB8AC3E}">
        <p14:creationId xmlns:p14="http://schemas.microsoft.com/office/powerpoint/2010/main" val="3473257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88230" y="1067328"/>
          <a:ext cx="11215540" cy="4795216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435096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elikost obcí</a:t>
                      </a:r>
                      <a:endParaRPr lang="cs-CZ" sz="1400" b="1" i="0" u="sng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6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504853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22 16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12 02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03 69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6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54 18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915 69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0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905 95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2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98 06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06 53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5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97 78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7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21 61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95 49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3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85 62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5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64 26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49 05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39 54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1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32 36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53 01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44 14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1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985 52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481 97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6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464 70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neuvedeno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52 36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45 89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CELKEM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8 878 18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6 666 15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1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6 587 34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2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6 a více let – přehled podle velikosti obc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6. 3. 2022</a:t>
            </a:r>
          </a:p>
        </p:txBody>
      </p:sp>
    </p:spTree>
    <p:extLst>
      <p:ext uri="{BB962C8B-B14F-4D97-AF65-F5344CB8AC3E}">
        <p14:creationId xmlns:p14="http://schemas.microsoft.com/office/powerpoint/2010/main" val="12501862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88230" y="1067328"/>
          <a:ext cx="11215540" cy="4795216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435096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elikost obcí</a:t>
                      </a:r>
                      <a:endParaRPr lang="cs-CZ" sz="1400" b="1" i="0" u="sng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8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504853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95 88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95 80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6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87 81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23 69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95 87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2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86 52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71 97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89 57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7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81 18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93 74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77 80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5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68 31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7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39 00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33 02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1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823 84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3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10 60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39 28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2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730 73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3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948 26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455 41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7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438 76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neuvedeno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50 26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143 89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CELKEM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8 683 16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6 537 05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6 461 09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4%</a:t>
                      </a:r>
                    </a:p>
                  </a:txBody>
                  <a:tcPr marL="6350" marR="6350" marT="635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8 a více let – přehled podle velikosti obc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6. 3. 2022</a:t>
            </a:r>
          </a:p>
        </p:txBody>
      </p:sp>
    </p:spTree>
    <p:extLst>
      <p:ext uri="{BB962C8B-B14F-4D97-AF65-F5344CB8AC3E}">
        <p14:creationId xmlns:p14="http://schemas.microsoft.com/office/powerpoint/2010/main" val="11732560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57732E0-5FFC-4C16-8EE9-D134CC166BE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5714260" cy="576000"/>
          </a:xfrm>
        </p:spPr>
        <p:txBody>
          <a:bodyPr/>
          <a:lstStyle/>
          <a:p>
            <a:r>
              <a:rPr lang="cs-CZ" dirty="0"/>
              <a:t>Očkovaní alespoň 1 dávkou, věk 16 a více let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7B9F606-0521-4946-AFFD-60D7B0AB266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830095"/>
              </p:ext>
            </p:extLst>
          </p:nvPr>
        </p:nvGraphicFramePr>
        <p:xfrm>
          <a:off x="91128" y="573809"/>
          <a:ext cx="12009744" cy="6241085"/>
        </p:xfrm>
        <a:graphic>
          <a:graphicData uri="http://schemas.openxmlformats.org/drawingml/2006/table">
            <a:tbl>
              <a:tblPr/>
              <a:tblGrid>
                <a:gridCol w="1605415">
                  <a:extLst>
                    <a:ext uri="{9D8B030D-6E8A-4147-A177-3AD203B41FA5}">
                      <a16:colId xmlns:a16="http://schemas.microsoft.com/office/drawing/2014/main" val="4222195180"/>
                    </a:ext>
                  </a:extLst>
                </a:gridCol>
                <a:gridCol w="1166065">
                  <a:extLst>
                    <a:ext uri="{9D8B030D-6E8A-4147-A177-3AD203B41FA5}">
                      <a16:colId xmlns:a16="http://schemas.microsoft.com/office/drawing/2014/main" val="3735238249"/>
                    </a:ext>
                  </a:extLst>
                </a:gridCol>
                <a:gridCol w="1272619">
                  <a:extLst>
                    <a:ext uri="{9D8B030D-6E8A-4147-A177-3AD203B41FA5}">
                      <a16:colId xmlns:a16="http://schemas.microsoft.com/office/drawing/2014/main" val="3907977151"/>
                    </a:ext>
                  </a:extLst>
                </a:gridCol>
                <a:gridCol w="1244338">
                  <a:extLst>
                    <a:ext uri="{9D8B030D-6E8A-4147-A177-3AD203B41FA5}">
                      <a16:colId xmlns:a16="http://schemas.microsoft.com/office/drawing/2014/main" val="1510319895"/>
                    </a:ext>
                  </a:extLst>
                </a:gridCol>
                <a:gridCol w="1357460">
                  <a:extLst>
                    <a:ext uri="{9D8B030D-6E8A-4147-A177-3AD203B41FA5}">
                      <a16:colId xmlns:a16="http://schemas.microsoft.com/office/drawing/2014/main" val="845056051"/>
                    </a:ext>
                  </a:extLst>
                </a:gridCol>
                <a:gridCol w="1366886">
                  <a:extLst>
                    <a:ext uri="{9D8B030D-6E8A-4147-A177-3AD203B41FA5}">
                      <a16:colId xmlns:a16="http://schemas.microsoft.com/office/drawing/2014/main" val="3508881911"/>
                    </a:ext>
                  </a:extLst>
                </a:gridCol>
                <a:gridCol w="1225485">
                  <a:extLst>
                    <a:ext uri="{9D8B030D-6E8A-4147-A177-3AD203B41FA5}">
                      <a16:colId xmlns:a16="http://schemas.microsoft.com/office/drawing/2014/main" val="1469909736"/>
                    </a:ext>
                  </a:extLst>
                </a:gridCol>
                <a:gridCol w="1055802">
                  <a:extLst>
                    <a:ext uri="{9D8B030D-6E8A-4147-A177-3AD203B41FA5}">
                      <a16:colId xmlns:a16="http://schemas.microsoft.com/office/drawing/2014/main" val="2995038165"/>
                    </a:ext>
                  </a:extLst>
                </a:gridCol>
                <a:gridCol w="733231">
                  <a:extLst>
                    <a:ext uri="{9D8B030D-6E8A-4147-A177-3AD203B41FA5}">
                      <a16:colId xmlns:a16="http://schemas.microsoft.com/office/drawing/2014/main" val="1267828709"/>
                    </a:ext>
                  </a:extLst>
                </a:gridCol>
                <a:gridCol w="982443">
                  <a:extLst>
                    <a:ext uri="{9D8B030D-6E8A-4147-A177-3AD203B41FA5}">
                      <a16:colId xmlns:a16="http://schemas.microsoft.com/office/drawing/2014/main" val="2097437231"/>
                    </a:ext>
                  </a:extLst>
                </a:gridCol>
              </a:tblGrid>
              <a:tr h="29369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46" marR="6146" marT="61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likost obcí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8354476"/>
                  </a:ext>
                </a:extLst>
              </a:tr>
              <a:tr h="44739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bydliště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750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 – 1 999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0 – 4 999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 – 14 999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000 – 39 999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000 – 99 999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000 a více obyvatel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740812"/>
                  </a:ext>
                </a:extLst>
              </a:tr>
              <a:tr h="4073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375 / 111128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8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375/1111280 (75.8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4D1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462721"/>
                  </a:ext>
                </a:extLst>
              </a:tr>
              <a:tr h="305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681 / 26990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3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131 / 238583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8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5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394 / 181358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.6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746 / 214151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.2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B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074 / 1727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8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46 / 5725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4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772/1133984 (78.1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233251"/>
                  </a:ext>
                </a:extLst>
              </a:tr>
              <a:tr h="305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40 / 12288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78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53 / 812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1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78 / 7480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30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69 / 8721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4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20 / 9016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6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50 / 7845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7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710/534754 (74.7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565777"/>
                  </a:ext>
                </a:extLst>
              </a:tr>
              <a:tr h="4073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59 / 9566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9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78 / 7583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7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053 / 9092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8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05 / 6500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23 / 1873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3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334 / 14690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7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652/493070 (73.3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032545"/>
                  </a:ext>
                </a:extLst>
              </a:tr>
              <a:tr h="305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60 / 2874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5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42 / 3381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53 / 3729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7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62 / 5890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2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21 / 4576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7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46 / 4141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6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284/245932 (70.8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A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947605"/>
                  </a:ext>
                </a:extLst>
              </a:tr>
              <a:tr h="305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14 / 809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49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36 / 7953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8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13 / 623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640 / 10198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2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400 / 14016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0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577 / 21226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8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980/677309 (72.4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5604189"/>
                  </a:ext>
                </a:extLst>
              </a:tr>
              <a:tr h="305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80 / 4917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52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85 / 4631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4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00 / 5396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7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29 / 6196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3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21 / 6825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8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02 / 8582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8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117/365503 (71.9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129088"/>
                  </a:ext>
                </a:extLst>
              </a:tr>
              <a:tr h="305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931 / 10400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05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25 / 7243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39 / 4445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4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647 / 1189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6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41 / 4169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9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00 / 7763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0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483/459214 (73.9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0072745"/>
                  </a:ext>
                </a:extLst>
              </a:tr>
              <a:tr h="305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257 / 10115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4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74 / 731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3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28 / 4803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1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71 / 11580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1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41 / 1916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4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993 / 7688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1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764/434172 (72.2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139895"/>
                  </a:ext>
                </a:extLst>
              </a:tr>
              <a:tr h="305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192 / 13780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3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83 / 5228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4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35 / 5832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5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06 / 6677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1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4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09 / 6647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2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3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79 / 4240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8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304/424066 (77.1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FC6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885047"/>
                  </a:ext>
                </a:extLst>
              </a:tr>
              <a:tr h="4073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985 / 15477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41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067 / 17682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4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359 / 1431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1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31 / 9263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6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377 / 10396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5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666 / 31941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7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785/990788 (72.7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103957"/>
                  </a:ext>
                </a:extLst>
              </a:tr>
              <a:tr h="305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15 / 9920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.54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1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453 / 10287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4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93 / 6731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8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49 / 7881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3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08 / 9391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3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35 / 829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4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053/525104 (68.9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52992"/>
                  </a:ext>
                </a:extLst>
              </a:tr>
              <a:tr h="305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87 / 753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9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C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59 / 9851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2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86 / 8227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63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71 / 669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8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67 / 10025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4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13 / 6237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8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483/485727 (70.3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5897682"/>
                  </a:ext>
                </a:extLst>
              </a:tr>
              <a:tr h="4073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80 / 5189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60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67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276 / 12109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5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140 / 13587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0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919 / 10531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1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603 / 14761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.1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750 / 19635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6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259 / 23913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9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027/997281 (69.1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1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8146275"/>
                  </a:ext>
                </a:extLst>
              </a:tr>
              <a:tr h="30480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152 366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36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1717514"/>
                  </a:ext>
                </a:extLst>
              </a:tr>
              <a:tr h="45410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46" marR="6146" marT="61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4681/1371572 (72.5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4962/1252479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0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071/1080171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4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045/1234490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2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005/1108903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5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391/1013838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4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7634/1816731 (74.7 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152 366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66155/8878184</a:t>
                      </a:r>
                      <a:b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1 %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911848"/>
                  </a:ext>
                </a:extLst>
              </a:tr>
            </a:tbl>
          </a:graphicData>
        </a:graphic>
      </p:graphicFrame>
      <p:sp>
        <p:nvSpPr>
          <p:cNvPr id="5" name="TextBox 6">
            <a:extLst>
              <a:ext uri="{FF2B5EF4-FFF2-40B4-BE49-F238E27FC236}">
                <a16:creationId xmlns:a16="http://schemas.microsoft.com/office/drawing/2014/main" id="{916571AB-23CB-43FF-97B3-ACA22DB860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6</a:t>
            </a:r>
            <a:r>
              <a:rPr lang="cs-CZ" sz="1600" b="1" dirty="0">
                <a:solidFill>
                  <a:schemeClr val="bg1"/>
                </a:solidFill>
              </a:rPr>
              <a:t>. </a:t>
            </a:r>
            <a:r>
              <a:rPr lang="en-US" sz="1600" b="1" dirty="0">
                <a:solidFill>
                  <a:schemeClr val="bg1"/>
                </a:solidFill>
              </a:rPr>
              <a:t>3</a:t>
            </a:r>
            <a:r>
              <a:rPr lang="cs-CZ" sz="1600" b="1" dirty="0">
                <a:solidFill>
                  <a:schemeClr val="bg1"/>
                </a:solidFill>
              </a:rPr>
              <a:t>. 2022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B594C65E-96EE-4719-AF58-F20DC28B84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3121" y="568778"/>
            <a:ext cx="1533524" cy="355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>
              <a:lnSpc>
                <a:spcPts val="1000"/>
              </a:lnSpc>
            </a:pPr>
            <a: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  <a:t>Očkovaní / obyvatelstvo</a:t>
            </a:r>
            <a:b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  <a:t>(podíl %)</a:t>
            </a:r>
          </a:p>
        </p:txBody>
      </p:sp>
    </p:spTree>
    <p:extLst>
      <p:ext uri="{BB962C8B-B14F-4D97-AF65-F5344CB8AC3E}">
        <p14:creationId xmlns:p14="http://schemas.microsoft.com/office/powerpoint/2010/main" val="3067252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EA07EF69-E822-480B-8581-2B84270B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091837"/>
              </p:ext>
            </p:extLst>
          </p:nvPr>
        </p:nvGraphicFramePr>
        <p:xfrm>
          <a:off x="133350" y="742950"/>
          <a:ext cx="11837679" cy="5789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6. 3. 2022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Zdroj dat: Centrální rezervační systém; ISIN / COVID-19 - Informační systém infekční nemo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589194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678805"/>
              </p:ext>
            </p:extLst>
          </p:nvPr>
        </p:nvGraphicFramePr>
        <p:xfrm>
          <a:off x="10803138" y="1608754"/>
          <a:ext cx="1333315" cy="4601544"/>
        </p:xfrm>
        <a:graphic>
          <a:graphicData uri="http://schemas.openxmlformats.org/drawingml/2006/table">
            <a:tbl>
              <a:tblPr/>
              <a:tblGrid>
                <a:gridCol w="68580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  <a:gridCol w="647515">
                  <a:extLst>
                    <a:ext uri="{9D8B030D-6E8A-4147-A177-3AD203B41FA5}">
                      <a16:colId xmlns:a16="http://schemas.microsoft.com/office/drawing/2014/main" val="1988768172"/>
                    </a:ext>
                  </a:extLst>
                </a:gridCol>
              </a:tblGrid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8741383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34 5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677209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186940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8 0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4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 99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4 09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 7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 89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2 5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2 4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8997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95E84E81-91E5-46C2-9381-CDCE4FF5644A}"/>
              </a:ext>
            </a:extLst>
          </p:cNvPr>
          <p:cNvSpPr/>
          <p:nvPr/>
        </p:nvSpPr>
        <p:spPr>
          <a:xfrm>
            <a:off x="10694639" y="1180677"/>
            <a:ext cx="96051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yvatelstvo </a:t>
            </a:r>
          </a:p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1. 1. 2021</a:t>
            </a:r>
            <a:endParaRPr lang="cs-CZ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DE88B8D6-CC63-4A18-A0A2-C12CA14C6C9E}"/>
              </a:ext>
            </a:extLst>
          </p:cNvPr>
          <p:cNvSpPr/>
          <p:nvPr/>
        </p:nvSpPr>
        <p:spPr>
          <a:xfrm>
            <a:off x="11418668" y="3266652"/>
            <a:ext cx="7697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čet obcí</a:t>
            </a:r>
            <a:endParaRPr lang="cs-CZ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E4438AD-C19F-4800-86E5-D99FB2280CA5}"/>
              </a:ext>
            </a:extLst>
          </p:cNvPr>
          <p:cNvSpPr/>
          <p:nvPr/>
        </p:nvSpPr>
        <p:spPr>
          <a:xfrm>
            <a:off x="22619" y="3253093"/>
            <a:ext cx="217912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ce podle počtu obyvatel</a:t>
            </a:r>
            <a:endParaRPr lang="cs-CZ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37893DC9-287B-4677-8B4C-245EDD1E1EDD}"/>
              </a:ext>
            </a:extLst>
          </p:cNvPr>
          <p:cNvSpPr/>
          <p:nvPr/>
        </p:nvSpPr>
        <p:spPr>
          <a:xfrm>
            <a:off x="240021" y="6179768"/>
            <a:ext cx="117163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;</a:t>
            </a:r>
          </a:p>
          <a:p>
            <a:r>
              <a:rPr lang="cs-CZ" sz="1100" b="1" dirty="0">
                <a:solidFill>
                  <a:srgbClr val="FF0000"/>
                </a:solidFill>
              </a:rPr>
              <a:t>Prodělali onemocnění = osoby, které nebyly očkovány a ani nejsou přihlášeny k očkování a kdykoliv v minulosti prodělaly onemocnění COVID-19 podle dat ISIN.</a:t>
            </a:r>
          </a:p>
        </p:txBody>
      </p:sp>
    </p:spTree>
    <p:extLst>
      <p:ext uri="{BB962C8B-B14F-4D97-AF65-F5344CB8AC3E}">
        <p14:creationId xmlns:p14="http://schemas.microsoft.com/office/powerpoint/2010/main" val="3104865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6. 3. 2022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394D7A9E-99FA-4768-92F9-5B89BCF6149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025452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8E059801-51AB-4C86-84F6-0A56BB1A9702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4D3D046A-6B0A-4D22-B358-88584987FE47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Celkový přehled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54817B73-F049-4743-BDB2-57E1F37CB4C1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859304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Zájem o očkování, stav k 6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do 750 obyvatel (1 358 031 obyvatel, 4 247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408961D1-DDD6-49A8-A978-9E283C04DC3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037843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CDB5CBC3-FD57-43D3-AB0A-884EE3365B11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ABF4EE96-7434-418D-A305-0AB39405926D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318520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750 – 1 999 obyvatel (1 531 990 obyvatel, 1 294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1E7B9B15-9120-43B8-8524-207203EEEC6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839203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51A14B2E-6869-4520-A387-7FB8A904021C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3D5DC57C-C7FC-4406-966F-D92D9D541138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285A40E4-2EA3-40F2-A074-BE11997393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81000" y="0"/>
            <a:ext cx="5397500" cy="576263"/>
          </a:xfrm>
        </p:spPr>
        <p:txBody>
          <a:bodyPr/>
          <a:lstStyle/>
          <a:p>
            <a:r>
              <a:rPr lang="cs-CZ" dirty="0"/>
              <a:t>Zájem o očkování, stav k 6. 3. 2022</a:t>
            </a:r>
          </a:p>
        </p:txBody>
      </p:sp>
    </p:spTree>
    <p:extLst>
      <p:ext uri="{BB962C8B-B14F-4D97-AF65-F5344CB8AC3E}">
        <p14:creationId xmlns:p14="http://schemas.microsoft.com/office/powerpoint/2010/main" val="2532486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2 000 – 4 999 obyvatel (1 334 099 obyvatel, 441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27EEF3F1-2537-48F1-9061-D953A2F8D85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16966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B25FF770-62F5-4448-8585-88A6EBCB9787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4D50749A-2209-4E42-8A7E-E4F3F600337B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926277C6-C13E-494A-B42D-35E4DDD7812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000" y="0"/>
            <a:ext cx="5397500" cy="576263"/>
          </a:xfrm>
        </p:spPr>
        <p:txBody>
          <a:bodyPr/>
          <a:lstStyle/>
          <a:p>
            <a:r>
              <a:rPr lang="cs-CZ" dirty="0"/>
              <a:t>Zájem o očkování, stav k 6. 3. 2022</a:t>
            </a:r>
          </a:p>
        </p:txBody>
      </p:sp>
    </p:spTree>
    <p:extLst>
      <p:ext uri="{BB962C8B-B14F-4D97-AF65-F5344CB8AC3E}">
        <p14:creationId xmlns:p14="http://schemas.microsoft.com/office/powerpoint/2010/main" val="2443483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5 000 – 14 999 obyvatel (1 469 760 obyvatel, 183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A0B4B87C-1D23-4D8D-AE42-0728CA7F112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4533619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6CE92ECA-B9DE-4168-B7B9-1383901EBE83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2859E773-1151-4C8A-A400-568BDDFDE906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8FE75D96-DC2F-44A5-B56E-01849017F35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000" y="0"/>
            <a:ext cx="5397500" cy="576263"/>
          </a:xfrm>
        </p:spPr>
        <p:txBody>
          <a:bodyPr/>
          <a:lstStyle/>
          <a:p>
            <a:r>
              <a:rPr lang="cs-CZ" dirty="0"/>
              <a:t>Zájem o očkování, stav k 6. 3. 2022</a:t>
            </a:r>
          </a:p>
        </p:txBody>
      </p:sp>
    </p:spTree>
    <p:extLst>
      <p:ext uri="{BB962C8B-B14F-4D97-AF65-F5344CB8AC3E}">
        <p14:creationId xmlns:p14="http://schemas.microsoft.com/office/powerpoint/2010/main" val="3575029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15 000 – 39 999 obyvatel (1 392 895 obyvatel, 63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E2FB9686-F02D-456D-AB30-60BC6CC6E24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9061209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318C09F0-916B-4408-B222-363E03AF4EE8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506DB690-38B5-477D-BD3A-14180D26F01F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DAD85DD0-57E1-441A-8657-3E3F44AD146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000" y="0"/>
            <a:ext cx="5397500" cy="576263"/>
          </a:xfrm>
        </p:spPr>
        <p:txBody>
          <a:bodyPr/>
          <a:lstStyle/>
          <a:p>
            <a:r>
              <a:rPr lang="cs-CZ" dirty="0"/>
              <a:t>Zájem o očkování, stav k 6. 3. 2022</a:t>
            </a:r>
          </a:p>
        </p:txBody>
      </p:sp>
    </p:spTree>
    <p:extLst>
      <p:ext uri="{BB962C8B-B14F-4D97-AF65-F5344CB8AC3E}">
        <p14:creationId xmlns:p14="http://schemas.microsoft.com/office/powerpoint/2010/main" val="1984157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40 000 – 99 999 obyvatel (1 232 537 obyvatel, 20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61B8D42-163F-4396-880D-44BDAB1F290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696660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64943663-80F7-4830-8580-68DFB365379E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10CC488C-1A0D-454F-B997-A65B0B8067F5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1DBE82FD-29B0-4222-810D-4E3EE6FB2B2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000" y="0"/>
            <a:ext cx="5397500" cy="576263"/>
          </a:xfrm>
        </p:spPr>
        <p:txBody>
          <a:bodyPr/>
          <a:lstStyle/>
          <a:p>
            <a:r>
              <a:rPr lang="cs-CZ" dirty="0"/>
              <a:t>Zájem o očkování, stav k 6. 3. 2022</a:t>
            </a:r>
          </a:p>
        </p:txBody>
      </p:sp>
    </p:spTree>
    <p:extLst>
      <p:ext uri="{BB962C8B-B14F-4D97-AF65-F5344CB8AC3E}">
        <p14:creationId xmlns:p14="http://schemas.microsoft.com/office/powerpoint/2010/main" val="2422985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890</TotalTime>
  <Words>1803</Words>
  <Application>Microsoft Office PowerPoint</Application>
  <PresentationFormat>Širokoúhlá obrazovka</PresentationFormat>
  <Paragraphs>346</Paragraphs>
  <Slides>13</Slides>
  <Notes>2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3</vt:i4>
      </vt:variant>
    </vt:vector>
  </HeadingPairs>
  <TitlesOfParts>
    <vt:vector size="16" baseType="lpstr">
      <vt:lpstr>Arial</vt:lpstr>
      <vt:lpstr>Calibri</vt:lpstr>
      <vt:lpstr>Motiv Office</vt:lpstr>
      <vt:lpstr>Prezentace aplikace PowerPoint</vt:lpstr>
      <vt:lpstr>Stav očkování obyvatel v ČR k 6. 3. 2022</vt:lpstr>
      <vt:lpstr>Zájem o očkování, stav k 6. 3. 2022</vt:lpstr>
      <vt:lpstr>Zájem o očkování, stav k 6. 3. 2022</vt:lpstr>
      <vt:lpstr>Zájem o očkování, stav k 6. 3. 2022</vt:lpstr>
      <vt:lpstr>Zájem o očkování, stav k 6. 3. 2022</vt:lpstr>
      <vt:lpstr>Zájem o očkování, stav k 6. 3. 2022</vt:lpstr>
      <vt:lpstr>Zájem o očkování, stav k 6. 3. 2022</vt:lpstr>
      <vt:lpstr>Zájem o očkování, stav k 6. 3. 2022</vt:lpstr>
      <vt:lpstr>Zájem o očkování, stav k 6. 3. 2022</vt:lpstr>
      <vt:lpstr>Očkovaní 16 a více let – přehled podle velikosti obcí</vt:lpstr>
      <vt:lpstr>Očkovaní 18 a více let – přehled podle velikosti obcí</vt:lpstr>
      <vt:lpstr>Očkovaní alespoň 1 dávkou, věk 16 a více l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Žofka Jan Mgr. Ing.</cp:lastModifiedBy>
  <cp:revision>616</cp:revision>
  <dcterms:created xsi:type="dcterms:W3CDTF">2020-11-14T10:09:00Z</dcterms:created>
  <dcterms:modified xsi:type="dcterms:W3CDTF">2022-03-06T12:43:20Z</dcterms:modified>
</cp:coreProperties>
</file>